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3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3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105" d="100"/>
          <a:sy n="105" d="100"/>
        </p:scale>
        <p:origin x="1212" y="102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\\rb.cz\group\Research\Odhady\IAE\AIE_b&#345;ezen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IE_DOTAZNIK_TIME_SERIES_18Q2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oleObject" Target="file:///\\rb.cz\group\Research\Odhady\IAE\exportni_index_2019-Q1_data.xlsx" TargetMode="External"/><Relationship Id="rId1" Type="http://schemas.openxmlformats.org/officeDocument/2006/relationships/themeOverride" Target="../theme/themeOverrid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8454568178977636E-2"/>
          <c:y val="0.1944190288983009"/>
          <c:w val="0.86512831729367168"/>
          <c:h val="0.55874832952689379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56</c:f>
              <c:numCache>
                <c:formatCode>m/d/yyyy</c:formatCode>
                <c:ptCount val="154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</c:numCache>
            </c:numRef>
          </c:cat>
          <c:val>
            <c:numRef>
              <c:f>'Původní model (M 1)'!$B$3:$B$152</c:f>
              <c:numCache>
                <c:formatCode>0.00</c:formatCode>
                <c:ptCount val="150"/>
                <c:pt idx="0">
                  <c:v>6.987715215361745</c:v>
                </c:pt>
                <c:pt idx="1">
                  <c:v>18.39880498347317</c:v>
                </c:pt>
                <c:pt idx="2">
                  <c:v>13.055857708076847</c:v>
                </c:pt>
                <c:pt idx="3">
                  <c:v>8.7645242732967041</c:v>
                </c:pt>
                <c:pt idx="4">
                  <c:v>13.506556528198367</c:v>
                </c:pt>
                <c:pt idx="5">
                  <c:v>15.281794950998284</c:v>
                </c:pt>
                <c:pt idx="6">
                  <c:v>11.463402787321053</c:v>
                </c:pt>
                <c:pt idx="7">
                  <c:v>17.492060931581154</c:v>
                </c:pt>
                <c:pt idx="8">
                  <c:v>9.7938203946819726</c:v>
                </c:pt>
                <c:pt idx="9">
                  <c:v>10.957167354339825</c:v>
                </c:pt>
                <c:pt idx="10">
                  <c:v>18.805529079220683</c:v>
                </c:pt>
                <c:pt idx="11">
                  <c:v>11.255816250201022</c:v>
                </c:pt>
                <c:pt idx="12">
                  <c:v>7.5845470476942012</c:v>
                </c:pt>
                <c:pt idx="13">
                  <c:v>12.687622473357841</c:v>
                </c:pt>
                <c:pt idx="14">
                  <c:v>8.1140160750422297</c:v>
                </c:pt>
                <c:pt idx="15">
                  <c:v>3.7502480062913346</c:v>
                </c:pt>
                <c:pt idx="16">
                  <c:v>8.8613785122900968</c:v>
                </c:pt>
                <c:pt idx="17">
                  <c:v>9.8730790001978477</c:v>
                </c:pt>
                <c:pt idx="18">
                  <c:v>-5.1336978535326043</c:v>
                </c:pt>
                <c:pt idx="19">
                  <c:v>12.863932795401789</c:v>
                </c:pt>
                <c:pt idx="20">
                  <c:v>0.46804233338120227</c:v>
                </c:pt>
                <c:pt idx="21">
                  <c:v>2.23185997948816</c:v>
                </c:pt>
                <c:pt idx="22">
                  <c:v>1.2754689486445647</c:v>
                </c:pt>
                <c:pt idx="23">
                  <c:v>-8.4655694324238908</c:v>
                </c:pt>
                <c:pt idx="24">
                  <c:v>4.6117820939808318</c:v>
                </c:pt>
                <c:pt idx="25">
                  <c:v>-12.152925998201026</c:v>
                </c:pt>
                <c:pt idx="26">
                  <c:v>-17.539258183525131</c:v>
                </c:pt>
                <c:pt idx="27">
                  <c:v>-12.708621024808576</c:v>
                </c:pt>
                <c:pt idx="28">
                  <c:v>-22.974721487695327</c:v>
                </c:pt>
                <c:pt idx="29">
                  <c:v>-19.538552380993579</c:v>
                </c:pt>
                <c:pt idx="30">
                  <c:v>-5.317510111251778</c:v>
                </c:pt>
                <c:pt idx="31">
                  <c:v>-21.621018405692215</c:v>
                </c:pt>
                <c:pt idx="32">
                  <c:v>-19.43127543629717</c:v>
                </c:pt>
                <c:pt idx="33">
                  <c:v>-14.022035296303969</c:v>
                </c:pt>
                <c:pt idx="34">
                  <c:v>-15.566917218033105</c:v>
                </c:pt>
                <c:pt idx="35">
                  <c:v>-7.1380831877589035</c:v>
                </c:pt>
                <c:pt idx="36">
                  <c:v>-10.276159427685627</c:v>
                </c:pt>
                <c:pt idx="37">
                  <c:v>-5.0136965945347001</c:v>
                </c:pt>
                <c:pt idx="38">
                  <c:v>3.797518644558262</c:v>
                </c:pt>
                <c:pt idx="39">
                  <c:v>7.4938001142369703</c:v>
                </c:pt>
                <c:pt idx="40">
                  <c:v>8.2659629239030696</c:v>
                </c:pt>
                <c:pt idx="41">
                  <c:v>8.2381451287182763</c:v>
                </c:pt>
                <c:pt idx="42">
                  <c:v>11.715018503563158</c:v>
                </c:pt>
                <c:pt idx="43">
                  <c:v>15.841845911430607</c:v>
                </c:pt>
                <c:pt idx="44">
                  <c:v>24.17976364480694</c:v>
                </c:pt>
                <c:pt idx="45">
                  <c:v>19.354165440914617</c:v>
                </c:pt>
                <c:pt idx="46">
                  <c:v>14.133808054328178</c:v>
                </c:pt>
                <c:pt idx="47">
                  <c:v>21.081413292821559</c:v>
                </c:pt>
                <c:pt idx="48">
                  <c:v>18.97708844393069</c:v>
                </c:pt>
                <c:pt idx="49">
                  <c:v>13.567962855749727</c:v>
                </c:pt>
                <c:pt idx="50">
                  <c:v>18.180374404656142</c:v>
                </c:pt>
                <c:pt idx="51">
                  <c:v>18.397550069413793</c:v>
                </c:pt>
                <c:pt idx="52">
                  <c:v>24.30885699627725</c:v>
                </c:pt>
                <c:pt idx="53">
                  <c:v>15.563807818443042</c:v>
                </c:pt>
                <c:pt idx="54">
                  <c:v>16.085591539986787</c:v>
                </c:pt>
                <c:pt idx="55">
                  <c:v>9.7911816350200418</c:v>
                </c:pt>
                <c:pt idx="56">
                  <c:v>14.509230945730689</c:v>
                </c:pt>
                <c:pt idx="57">
                  <c:v>7.3961761308621199</c:v>
                </c:pt>
                <c:pt idx="58">
                  <c:v>8.0801022300612821</c:v>
                </c:pt>
                <c:pt idx="59">
                  <c:v>7.2036933111184531</c:v>
                </c:pt>
                <c:pt idx="60">
                  <c:v>7.7268734154087859</c:v>
                </c:pt>
                <c:pt idx="61">
                  <c:v>8.388463593918182</c:v>
                </c:pt>
                <c:pt idx="62">
                  <c:v>6.9528723125017233</c:v>
                </c:pt>
                <c:pt idx="63">
                  <c:v>6.4345644589801854</c:v>
                </c:pt>
                <c:pt idx="64">
                  <c:v>18.11105696554489</c:v>
                </c:pt>
                <c:pt idx="65">
                  <c:v>23.077055327187356</c:v>
                </c:pt>
                <c:pt idx="66">
                  <c:v>14.00548186186219</c:v>
                </c:pt>
                <c:pt idx="67">
                  <c:v>16.118644041504627</c:v>
                </c:pt>
                <c:pt idx="68">
                  <c:v>11.119031987549665</c:v>
                </c:pt>
                <c:pt idx="69">
                  <c:v>13.408069018898438</c:v>
                </c:pt>
                <c:pt idx="70">
                  <c:v>18.413098181802301</c:v>
                </c:pt>
                <c:pt idx="71">
                  <c:v>14.928951173637461</c:v>
                </c:pt>
                <c:pt idx="72">
                  <c:v>5.9946034582660124</c:v>
                </c:pt>
                <c:pt idx="73">
                  <c:v>15.205039124646902</c:v>
                </c:pt>
                <c:pt idx="74">
                  <c:v>9.8510169113861892</c:v>
                </c:pt>
                <c:pt idx="75">
                  <c:v>-0.89478437425941637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302698783276721</c:v>
                </c:pt>
                <c:pt idx="101">
                  <c:v>5.0514934902204045</c:v>
                </c:pt>
                <c:pt idx="102">
                  <c:v>8.7563219568606456</c:v>
                </c:pt>
                <c:pt idx="103">
                  <c:v>3.7938787269379048</c:v>
                </c:pt>
                <c:pt idx="104">
                  <c:v>0.53462676852984448</c:v>
                </c:pt>
                <c:pt idx="105">
                  <c:v>9.5947240053268601</c:v>
                </c:pt>
                <c:pt idx="106">
                  <c:v>1.1745352731917791</c:v>
                </c:pt>
                <c:pt idx="107">
                  <c:v>2.0937309799147874</c:v>
                </c:pt>
                <c:pt idx="108">
                  <c:v>-5.9790215832311588E-2</c:v>
                </c:pt>
                <c:pt idx="109">
                  <c:v>2.1702665559891532</c:v>
                </c:pt>
                <c:pt idx="110">
                  <c:v>5.6293041039278569</c:v>
                </c:pt>
                <c:pt idx="111">
                  <c:v>3.2920229964627401</c:v>
                </c:pt>
                <c:pt idx="112">
                  <c:v>0.88441886392556235</c:v>
                </c:pt>
                <c:pt idx="113">
                  <c:v>5.6817751524101734</c:v>
                </c:pt>
                <c:pt idx="114">
                  <c:v>-1.8705771903318125</c:v>
                </c:pt>
                <c:pt idx="115">
                  <c:v>3.1120399699572143</c:v>
                </c:pt>
                <c:pt idx="116">
                  <c:v>7.7505549047413469</c:v>
                </c:pt>
                <c:pt idx="117">
                  <c:v>0.80963092162076311</c:v>
                </c:pt>
                <c:pt idx="118">
                  <c:v>-16.733771071823121</c:v>
                </c:pt>
                <c:pt idx="119">
                  <c:v>15.974899425477695</c:v>
                </c:pt>
                <c:pt idx="120">
                  <c:v>-0.19331055565545707</c:v>
                </c:pt>
                <c:pt idx="121">
                  <c:v>-4.0008899856388673</c:v>
                </c:pt>
                <c:pt idx="122">
                  <c:v>4.3477512166057553</c:v>
                </c:pt>
                <c:pt idx="123">
                  <c:v>1.0629124864632855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7998944620341035</c:v>
                </c:pt>
                <c:pt idx="137">
                  <c:v>0.14881161292134948</c:v>
                </c:pt>
                <c:pt idx="138">
                  <c:v>-7.0287255539038114</c:v>
                </c:pt>
                <c:pt idx="139">
                  <c:v>6.1426017760350504</c:v>
                </c:pt>
                <c:pt idx="140">
                  <c:v>-2.0427541334624948</c:v>
                </c:pt>
                <c:pt idx="141">
                  <c:v>1.5443485587356633</c:v>
                </c:pt>
                <c:pt idx="142">
                  <c:v>11.215329178432668</c:v>
                </c:pt>
                <c:pt idx="143">
                  <c:v>4.2304461790219108</c:v>
                </c:pt>
                <c:pt idx="144">
                  <c:v>2.1068003075719304</c:v>
                </c:pt>
                <c:pt idx="145">
                  <c:v>10.25837356907364</c:v>
                </c:pt>
                <c:pt idx="146">
                  <c:v>10.269538717798255</c:v>
                </c:pt>
                <c:pt idx="147">
                  <c:v>1.6436492115974488</c:v>
                </c:pt>
                <c:pt idx="148">
                  <c:v>1.5884110589186236</c:v>
                </c:pt>
                <c:pt idx="149">
                  <c:v>5.140039530678322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988-4E4C-AE1C-0F38C16BDA08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56</c:f>
              <c:numCache>
                <c:formatCode>m/d/yyyy</c:formatCode>
                <c:ptCount val="154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</c:numCache>
            </c:numRef>
          </c:cat>
          <c:val>
            <c:numRef>
              <c:f>'Původní model (M 1)'!$C$3:$C$156</c:f>
              <c:numCache>
                <c:formatCode>General</c:formatCode>
                <c:ptCount val="154"/>
                <c:pt idx="149" formatCode="0.00">
                  <c:v>5.1400395306783224</c:v>
                </c:pt>
                <c:pt idx="150" formatCode="0.00">
                  <c:v>5.7277425568396296</c:v>
                </c:pt>
                <c:pt idx="151" formatCode="0.00">
                  <c:v>3.4258075131654202</c:v>
                </c:pt>
                <c:pt idx="152" formatCode="0.00">
                  <c:v>2.0277392952584301</c:v>
                </c:pt>
                <c:pt idx="153" formatCode="0.00">
                  <c:v>4.04702450173022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988-4E4C-AE1C-0F38C16BDA08}"/>
            </c:ext>
          </c:extLst>
        </c:ser>
        <c:ser>
          <c:idx val="3"/>
          <c:order val="2"/>
          <c:tx>
            <c:v>Předpověď růstu exportu s trhem práce a pracovními dny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56</c:f>
              <c:numCache>
                <c:formatCode>m/d/yyyy</c:formatCode>
                <c:ptCount val="154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</c:numCache>
            </c:numRef>
          </c:cat>
          <c:val>
            <c:numRef>
              <c:f>'Model trh práce + wdays (2wd)'!$C$3:$C$156</c:f>
              <c:numCache>
                <c:formatCode>General</c:formatCode>
                <c:ptCount val="154"/>
                <c:pt idx="149" formatCode="0.00">
                  <c:v>5.1400395306783224</c:v>
                </c:pt>
                <c:pt idx="150" formatCode="0.00">
                  <c:v>5.86133363000123</c:v>
                </c:pt>
                <c:pt idx="151" formatCode="0.00">
                  <c:v>2.3347099355747201</c:v>
                </c:pt>
                <c:pt idx="152" formatCode="0.00">
                  <c:v>1.2526928412628899</c:v>
                </c:pt>
                <c:pt idx="153" formatCode="0.00">
                  <c:v>4.85110426179462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988-4E4C-AE1C-0F38C16BDA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56</c15:sqref>
                        </c15:formulaRef>
                      </c:ext>
                    </c:extLst>
                    <c:numCache>
                      <c:formatCode>m/d/yyyy</c:formatCode>
                      <c:ptCount val="154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B988-4E4C-AE1C-0F38C16BDA08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in val="42401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200"/>
            </a:pPr>
            <a:endParaRPr lang="cs-CZ"/>
          </a:p>
        </c:txPr>
        <c:crossAx val="55254400"/>
        <c:crosses val="autoZero"/>
        <c:auto val="1"/>
        <c:lblOffset val="100"/>
        <c:baseTimeUnit val="months"/>
        <c:majorUnit val="6"/>
        <c:majorTimeUnit val="months"/>
      </c:dateAx>
      <c:valAx>
        <c:axId val="55254400"/>
        <c:scaling>
          <c:orientation val="minMax"/>
          <c:max val="20"/>
          <c:min val="-20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algn="ctr" rtl="0">
                  <a:defRPr sz="1400"/>
                </a:pPr>
                <a:r>
                  <a:rPr lang="en-US" sz="1400"/>
                  <a:t>meziroční změna v %</a:t>
                </a:r>
                <a:endParaRPr lang="cs-CZ" sz="1400"/>
              </a:p>
            </c:rich>
          </c:tx>
          <c:layout/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txPr>
          <a:bodyPr/>
          <a:lstStyle/>
          <a:p>
            <a:pPr>
              <a:defRPr sz="1400"/>
            </a:pPr>
            <a:endParaRPr lang="cs-CZ"/>
          </a:p>
        </c:txPr>
        <c:crossAx val="55252480"/>
        <c:crossesAt val="42095"/>
        <c:crossBetween val="between"/>
      </c:valAx>
      <c:spPr>
        <a:ln>
          <a:solidFill>
            <a:sysClr val="windowText" lastClr="000000">
              <a:lumMod val="50000"/>
              <a:lumOff val="50000"/>
            </a:sysClr>
          </a:solidFill>
        </a:ln>
      </c:spPr>
    </c:plotArea>
    <c:legend>
      <c:legendPos val="b"/>
      <c:layout>
        <c:manualLayout>
          <c:xMode val="edge"/>
          <c:yMode val="edge"/>
          <c:x val="0"/>
          <c:y val="0.86004691821527568"/>
          <c:w val="0.98797173409419903"/>
          <c:h val="0.13795927630324356"/>
        </c:manualLayout>
      </c:layout>
      <c:overlay val="0"/>
      <c:txPr>
        <a:bodyPr/>
        <a:lstStyle/>
        <a:p>
          <a:pPr>
            <a:defRPr sz="1400"/>
          </a:pPr>
          <a:endParaRPr lang="cs-CZ"/>
        </a:p>
      </c:txPr>
    </c:legend>
    <c:plotVisOnly val="0"/>
    <c:dispBlanksAs val="gap"/>
    <c:showDLblsOverMax val="0"/>
  </c:chart>
  <c:spPr>
    <a:ln>
      <a:noFill/>
    </a:ln>
  </c:spPr>
  <c:txPr>
    <a:bodyPr/>
    <a:lstStyle/>
    <a:p>
      <a:pPr>
        <a:defRPr sz="1050"/>
      </a:pPr>
      <a:endParaRPr lang="cs-CZ"/>
    </a:p>
  </c:txPr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59314443408901096"/>
        </c:manualLayout>
      </c:layout>
      <c:lineChart>
        <c:grouping val="standard"/>
        <c:varyColors val="0"/>
        <c:ser>
          <c:idx val="0"/>
          <c:order val="0"/>
          <c:tx>
            <c:strRef>
              <c:f>[IE_DOTAZNIK_TIME_SERIES_18Q2.xlsx]Sheet1!$B$1</c:f>
              <c:strCache>
                <c:ptCount val="1"/>
                <c:pt idx="0">
                  <c:v>medián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5032-4ACB-A434-87DC1E743618}"/>
              </c:ext>
            </c:extLst>
          </c:dPt>
          <c:dLbls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b="1">
                    <a:solidFill>
                      <a:schemeClr val="bg1">
                        <a:lumMod val="50000"/>
                      </a:schemeClr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B$4:$B$15</c:f>
              <c:numCache>
                <c:formatCode>0.0</c:formatCode>
                <c:ptCount val="12"/>
                <c:pt idx="0">
                  <c:v>51</c:v>
                </c:pt>
                <c:pt idx="1">
                  <c:v>50</c:v>
                </c:pt>
                <c:pt idx="2">
                  <c:v>50</c:v>
                </c:pt>
                <c:pt idx="3">
                  <c:v>50</c:v>
                </c:pt>
                <c:pt idx="4">
                  <c:v>50</c:v>
                </c:pt>
                <c:pt idx="5">
                  <c:v>50</c:v>
                </c:pt>
                <c:pt idx="6">
                  <c:v>51.5</c:v>
                </c:pt>
                <c:pt idx="7">
                  <c:v>52.5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5032-4ACB-A434-87DC1E743618}"/>
            </c:ext>
          </c:extLst>
        </c:ser>
        <c:ser>
          <c:idx val="1"/>
          <c:order val="1"/>
          <c:tx>
            <c:strRef>
              <c:f>[IE_DOTAZNIK_TIME_SERIES_18Q2.xlsx]Sheet1!$I$1</c:f>
              <c:strCache>
                <c:ptCount val="1"/>
                <c:pt idx="0">
                  <c:v>průměr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>
                    <a:solidFill>
                      <a:srgbClr val="FFC000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I$4:$I$15</c:f>
              <c:numCache>
                <c:formatCode>0.00</c:formatCode>
                <c:ptCount val="12"/>
                <c:pt idx="0">
                  <c:v>56.13</c:v>
                </c:pt>
                <c:pt idx="1">
                  <c:v>53.23</c:v>
                </c:pt>
                <c:pt idx="2">
                  <c:v>52.756756756756758</c:v>
                </c:pt>
                <c:pt idx="3">
                  <c:v>52.13</c:v>
                </c:pt>
                <c:pt idx="4">
                  <c:v>54.9</c:v>
                </c:pt>
                <c:pt idx="5">
                  <c:v>54.68</c:v>
                </c:pt>
                <c:pt idx="6">
                  <c:v>56.94</c:v>
                </c:pt>
                <c:pt idx="7">
                  <c:v>53.863636363636367</c:v>
                </c:pt>
                <c:pt idx="8">
                  <c:v>52.45</c:v>
                </c:pt>
                <c:pt idx="9">
                  <c:v>50.877551020408163</c:v>
                </c:pt>
                <c:pt idx="10">
                  <c:v>54.75</c:v>
                </c:pt>
                <c:pt idx="11">
                  <c:v>51.142857142857146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3-5032-4ACB-A434-87DC1E7436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 sz="900"/>
            </a:pPr>
            <a:endParaRPr lang="cs-CZ"/>
          </a:p>
        </c:txPr>
        <c:crossAx val="173173376"/>
        <c:crosses val="autoZero"/>
        <c:auto val="1"/>
        <c:lblAlgn val="ctr"/>
        <c:lblOffset val="100"/>
        <c:tickLblSkip val="1"/>
        <c:noMultiLvlLbl val="0"/>
      </c:catAx>
      <c:valAx>
        <c:axId val="173173376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71840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7.6657699037620319E-2"/>
          <c:y val="0.83286506800286331"/>
          <c:w val="0.89875546806649165"/>
          <c:h val="0.15231325529495979"/>
        </c:manualLayout>
      </c:layout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200">
          <a:latin typeface="FuturaTEE" pitchFamily="2" charset="0"/>
        </a:defRPr>
      </a:pPr>
      <a:endParaRPr lang="cs-CZ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88888888888889E-2"/>
          <c:y val="8.1345928656650884E-2"/>
          <c:w val="0.93888888888888888"/>
          <c:h val="0.62854610922437826"/>
        </c:manualLayout>
      </c:layout>
      <c:lineChart>
        <c:grouping val="standard"/>
        <c:varyColors val="0"/>
        <c:ser>
          <c:idx val="0"/>
          <c:order val="0"/>
          <c:tx>
            <c:strRef>
              <c:f>[IE_DOTAZNIK_TIME_SERIES_18Q2.xlsx]Sheet1!$C$1</c:f>
              <c:strCache>
                <c:ptCount val="1"/>
                <c:pt idx="0">
                  <c:v>Výhled +3M (medián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1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4A16-4CE4-96E2-32762AFCB607}"/>
              </c:ext>
            </c:extLst>
          </c:dPt>
          <c:dLbls>
            <c:dLbl>
              <c:idx val="0"/>
              <c:layout>
                <c:manualLayout>
                  <c:x val="-5.9111111111111114E-2"/>
                  <c:y val="0.12833735336545143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4A16-4CE4-96E2-32762AFCB607}"/>
                </c:ext>
              </c:extLst>
            </c:dLbl>
            <c:dLbl>
              <c:idx val="2"/>
              <c:layout>
                <c:manualLayout>
                  <c:x val="-5.3555555555555558E-2"/>
                  <c:y val="0.1173578499356645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4A16-4CE4-96E2-32762AFCB607}"/>
                </c:ext>
              </c:extLst>
            </c:dLbl>
            <c:dLbl>
              <c:idx val="3"/>
              <c:layout>
                <c:manualLayout>
                  <c:x val="-4.7999999999999952E-2"/>
                  <c:y val="0.1221501902187284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4A16-4CE4-96E2-32762AFCB607}"/>
                </c:ext>
              </c:extLst>
            </c:dLbl>
            <c:dLbl>
              <c:idx val="6"/>
              <c:layout>
                <c:manualLayout>
                  <c:x val="-5.3555555555555558E-2"/>
                  <c:y val="9.952458673401805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4A16-4CE4-96E2-32762AFCB607}"/>
                </c:ext>
              </c:extLst>
            </c:dLbl>
            <c:dLbl>
              <c:idx val="7"/>
              <c:layout>
                <c:manualLayout>
                  <c:x val="-3.9847112860892389E-2"/>
                  <c:y val="0.10977586392528245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6-4A16-4CE4-96E2-32762AFCB607}"/>
                </c:ext>
              </c:extLst>
            </c:dLbl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100" b="1">
                    <a:solidFill>
                      <a:schemeClr val="bg1">
                        <a:lumMod val="65000"/>
                      </a:schemeClr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C$4:$C$15</c:f>
              <c:numCache>
                <c:formatCode>0.0</c:formatCode>
                <c:ptCount val="12"/>
                <c:pt idx="0">
                  <c:v>54</c:v>
                </c:pt>
                <c:pt idx="1">
                  <c:v>50</c:v>
                </c:pt>
                <c:pt idx="2">
                  <c:v>50</c:v>
                </c:pt>
                <c:pt idx="3">
                  <c:v>54.5</c:v>
                </c:pt>
                <c:pt idx="4">
                  <c:v>50</c:v>
                </c:pt>
                <c:pt idx="5">
                  <c:v>51.5</c:v>
                </c:pt>
                <c:pt idx="6">
                  <c:v>50.5</c:v>
                </c:pt>
                <c:pt idx="7">
                  <c:v>54</c:v>
                </c:pt>
                <c:pt idx="8">
                  <c:v>50</c:v>
                </c:pt>
                <c:pt idx="9">
                  <c:v>50</c:v>
                </c:pt>
                <c:pt idx="10">
                  <c:v>50</c:v>
                </c:pt>
                <c:pt idx="11">
                  <c:v>50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7-4A16-4CE4-96E2-32762AFCB607}"/>
            </c:ext>
          </c:extLst>
        </c:ser>
        <c:ser>
          <c:idx val="1"/>
          <c:order val="1"/>
          <c:tx>
            <c:strRef>
              <c:f>[IE_DOTAZNIK_TIME_SERIES_18Q2.xlsx]Sheet1!$J$1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C000"/>
                    </a:solidFill>
                    <a:latin typeface="Century Gothic" panose="020B0502020202020204" pitchFamily="34" charset="0"/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[IE_DOTAZNIK_TIME_SERIES_18Q2.xlsx]Sheet1!$A$4:$A$15</c:f>
              <c:strCache>
                <c:ptCount val="12"/>
                <c:pt idx="0">
                  <c:v>Q2/2016</c:v>
                </c:pt>
                <c:pt idx="1">
                  <c:v>Q3/2016</c:v>
                </c:pt>
                <c:pt idx="2">
                  <c:v>Q4/2016</c:v>
                </c:pt>
                <c:pt idx="3">
                  <c:v>Q1/2017</c:v>
                </c:pt>
                <c:pt idx="4">
                  <c:v>Q2/2017</c:v>
                </c:pt>
                <c:pt idx="5">
                  <c:v>Q3/2017</c:v>
                </c:pt>
                <c:pt idx="6">
                  <c:v>Q4/2017</c:v>
                </c:pt>
                <c:pt idx="7">
                  <c:v>Q1/2018</c:v>
                </c:pt>
                <c:pt idx="8">
                  <c:v>Q2/2018</c:v>
                </c:pt>
                <c:pt idx="9">
                  <c:v>Q3/2018</c:v>
                </c:pt>
                <c:pt idx="10">
                  <c:v>Q4/2018</c:v>
                </c:pt>
                <c:pt idx="11">
                  <c:v>Q1/2019</c:v>
                </c:pt>
              </c:strCache>
            </c:strRef>
          </c:cat>
          <c:val>
            <c:numRef>
              <c:f>[IE_DOTAZNIK_TIME_SERIES_18Q2.xlsx]Sheet1!$J$4:$J$15</c:f>
              <c:numCache>
                <c:formatCode>0.00</c:formatCode>
                <c:ptCount val="12"/>
                <c:pt idx="0">
                  <c:v>58.47</c:v>
                </c:pt>
                <c:pt idx="1">
                  <c:v>53.77</c:v>
                </c:pt>
                <c:pt idx="2">
                  <c:v>53.513513513513516</c:v>
                </c:pt>
                <c:pt idx="3">
                  <c:v>55.42</c:v>
                </c:pt>
                <c:pt idx="4">
                  <c:v>54.83</c:v>
                </c:pt>
                <c:pt idx="5">
                  <c:v>57.22</c:v>
                </c:pt>
                <c:pt idx="6">
                  <c:v>54.02</c:v>
                </c:pt>
                <c:pt idx="7">
                  <c:v>55.727272727272727</c:v>
                </c:pt>
                <c:pt idx="8">
                  <c:v>54.03</c:v>
                </c:pt>
                <c:pt idx="9">
                  <c:v>54</c:v>
                </c:pt>
                <c:pt idx="10">
                  <c:v>49.777777777777779</c:v>
                </c:pt>
                <c:pt idx="11">
                  <c:v>52.95238095238094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8-4A16-4CE4-96E2-32762AFCB6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90144"/>
        <c:axId val="173347584"/>
      </c:lineChart>
      <c:catAx>
        <c:axId val="1731901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00">
                <a:latin typeface="FuturaTEE" pitchFamily="2" charset="0"/>
              </a:defRPr>
            </a:pPr>
            <a:endParaRPr lang="cs-CZ"/>
          </a:p>
        </c:txPr>
        <c:crossAx val="173347584"/>
        <c:crosses val="autoZero"/>
        <c:auto val="1"/>
        <c:lblAlgn val="ctr"/>
        <c:lblOffset val="100"/>
        <c:tickLblSkip val="1"/>
        <c:noMultiLvlLbl val="0"/>
      </c:catAx>
      <c:valAx>
        <c:axId val="173347584"/>
        <c:scaling>
          <c:orientation val="minMax"/>
        </c:scaling>
        <c:delete val="1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.00" sourceLinked="0"/>
        <c:majorTickMark val="out"/>
        <c:minorTickMark val="none"/>
        <c:tickLblPos val="nextTo"/>
        <c:crossAx val="173190144"/>
        <c:crosses val="autoZero"/>
        <c:crossBetween val="between"/>
        <c:majorUnit val="4"/>
      </c:valAx>
    </c:plotArea>
    <c:legend>
      <c:legendPos val="b"/>
      <c:layout>
        <c:manualLayout>
          <c:xMode val="edge"/>
          <c:yMode val="edge"/>
          <c:x val="6.8324365704286988E-2"/>
          <c:y val="0.86627532889201253"/>
          <c:w val="0.90501771653543306"/>
          <c:h val="0.12085492493831032"/>
        </c:manualLayout>
      </c:layout>
      <c:overlay val="0"/>
      <c:txPr>
        <a:bodyPr/>
        <a:lstStyle/>
        <a:p>
          <a:pPr>
            <a:defRPr>
              <a:latin typeface="Century Gothic" panose="020B0502020202020204" pitchFamily="34" charset="0"/>
            </a:defRPr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8.1473811133815507E-2"/>
          <c:y val="0.16479695246427531"/>
          <c:w val="0.89915334612976905"/>
          <c:h val="0.57898568074611267"/>
        </c:manualLayout>
      </c:layout>
      <c:barChart>
        <c:barDir val="col"/>
        <c:grouping val="clustered"/>
        <c:varyColors val="0"/>
        <c:ser>
          <c:idx val="1"/>
          <c:order val="0"/>
          <c:spPr>
            <a:solidFill>
              <a:sysClr val="window" lastClr="FFFFFF">
                <a:lumMod val="85000"/>
              </a:sysClr>
            </a:solidFill>
            <a:ln w="22225">
              <a:noFill/>
            </a:ln>
          </c:spPr>
          <c:invertIfNegative val="0"/>
          <c:cat>
            <c:strRef>
              <c:f>'[exportni_index_2019-Q1_data.xlsx]faktory pro recesi v ČR'!$A$3:$A$6</c:f>
              <c:strCache>
                <c:ptCount val="4"/>
                <c:pt idx="0">
                  <c:v>Uvalení vysokých cel na dovoz aut a náhradních dílů do USA</c:v>
                </c:pt>
                <c:pt idx="1">
                  <c:v>Nedosažení obchodního smíru mezi Čínou a USA</c:v>
                </c:pt>
                <c:pt idx="2">
                  <c:v>Divoký brexit</c:v>
                </c:pt>
                <c:pt idx="3">
                  <c:v>Opakovaně odkládaný brexit</c:v>
                </c:pt>
              </c:strCache>
            </c:strRef>
          </c:cat>
          <c:val>
            <c:numRef>
              <c:f>'[exportni_index_2019-Q1_data.xlsx]faktory pro recesi v ČR'!$B$3:$B$6</c:f>
              <c:numCache>
                <c:formatCode>0%</c:formatCode>
                <c:ptCount val="4"/>
                <c:pt idx="0">
                  <c:v>0.47619047619047616</c:v>
                </c:pt>
                <c:pt idx="1">
                  <c:v>0.33333333333333331</c:v>
                </c:pt>
                <c:pt idx="2">
                  <c:v>0.14285714285714285</c:v>
                </c:pt>
                <c:pt idx="3">
                  <c:v>4.7619047619047616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E38-4AC8-94B6-D930ECA431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28471424"/>
        <c:axId val="428472960"/>
      </c:barChart>
      <c:catAx>
        <c:axId val="428471424"/>
        <c:scaling>
          <c:orientation val="minMax"/>
        </c:scaling>
        <c:delete val="0"/>
        <c:axPos val="b"/>
        <c:numFmt formatCode="mm\-yy" sourceLinked="0"/>
        <c:majorTickMark val="out"/>
        <c:minorTickMark val="none"/>
        <c:tickLblPos val="low"/>
        <c:spPr>
          <a:ln>
            <a:solidFill>
              <a:sysClr val="windowText" lastClr="000000"/>
            </a:solidFill>
          </a:ln>
        </c:spPr>
        <c:txPr>
          <a:bodyPr rot="0"/>
          <a:lstStyle/>
          <a:p>
            <a:pPr>
              <a:defRPr/>
            </a:pPr>
            <a:endParaRPr lang="cs-CZ"/>
          </a:p>
        </c:txPr>
        <c:crossAx val="428472960"/>
        <c:crossesAt val="-500"/>
        <c:auto val="1"/>
        <c:lblAlgn val="ctr"/>
        <c:lblOffset val="100"/>
        <c:noMultiLvlLbl val="0"/>
      </c:catAx>
      <c:valAx>
        <c:axId val="428472960"/>
        <c:scaling>
          <c:orientation val="minMax"/>
        </c:scaling>
        <c:delete val="0"/>
        <c:axPos val="l"/>
        <c:majorGridlines/>
        <c:numFmt formatCode="0%" sourceLinked="0"/>
        <c:majorTickMark val="none"/>
        <c:minorTickMark val="none"/>
        <c:tickLblPos val="nextTo"/>
        <c:spPr>
          <a:ln w="9525">
            <a:noFill/>
          </a:ln>
        </c:spPr>
        <c:crossAx val="428471424"/>
        <c:crosses val="autoZero"/>
        <c:crossBetween val="between"/>
        <c:majorUnit val="0.1"/>
      </c:valAx>
      <c:spPr>
        <a:ln>
          <a:solidFill>
            <a:sysClr val="windowText" lastClr="000000"/>
          </a:solidFill>
        </a:ln>
      </c:spPr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400">
          <a:latin typeface="FuturaTEE" pitchFamily="2" charset="0"/>
        </a:defRPr>
      </a:pPr>
      <a:endParaRPr lang="cs-CZ"/>
    </a:p>
  </c:txPr>
  <c:externalData r:id="rId2">
    <c:autoUpdate val="0"/>
  </c:externalData>
  <c:userShapes r:id="rId3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3.63184E-7</cdr:y>
    </cdr:from>
    <cdr:to>
      <cdr:x>1</cdr:x>
      <cdr:y>0.14183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0" y="1"/>
          <a:ext cx="10114093" cy="390524"/>
        </a:xfrm>
        <a:prstGeom xmlns:a="http://schemas.openxmlformats.org/drawingml/2006/main" prst="rect">
          <a:avLst/>
        </a:prstGeom>
        <a:solidFill xmlns:a="http://schemas.openxmlformats.org/drawingml/2006/main">
          <a:srgbClr val="FFFF00"/>
        </a:solidFill>
        <a:ln xmlns:a="http://schemas.openxmlformats.org/drawingml/2006/main" w="9525">
          <a:solidFill>
            <a:srgbClr val="FFFF00"/>
          </a:solidFill>
        </a:ln>
      </cdr:spPr>
      <cdr:txBody>
        <a:bodyPr xmlns:a="http://schemas.openxmlformats.org/drawingml/2006/main" vertOverflow="clip" wrap="square" lIns="108000" tIns="144000" rIns="108000" bIns="0" rtlCol="0">
          <a:noAutofit/>
        </a:bodyPr>
        <a:lstStyle xmlns:a="http://schemas.openxmlformats.org/drawingml/2006/main"/>
        <a:p xmlns:a="http://schemas.openxmlformats.org/drawingml/2006/main">
          <a:pPr algn="l" rtl="0">
            <a:defRPr sz="1600" b="1" i="0" u="none" strike="noStrike" kern="1200" baseline="0">
              <a:solidFill>
                <a:prstClr val="black"/>
              </a:solidFill>
              <a:latin typeface="+mn-lt"/>
              <a:ea typeface="+mn-ea"/>
              <a:cs typeface="+mn-cs"/>
            </a:defRPr>
          </a:pPr>
          <a:r>
            <a:rPr lang="cs-CZ" sz="1600" smtClean="0"/>
            <a:t>Index Exportu: výročí šestiletých minim </a:t>
          </a:r>
          <a:r>
            <a:rPr lang="en-US" sz="1600" smtClean="0"/>
            <a:t>   </a:t>
          </a:r>
          <a:endParaRPr lang="cs-CZ" sz="1600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1</cdr:x>
      <cdr:y>0.10909</cdr:y>
    </cdr:to>
    <cdr:sp macro="" textlink="">
      <cdr:nvSpPr>
        <cdr:cNvPr id="6" name="TextBox 2"/>
        <cdr:cNvSpPr txBox="1"/>
      </cdr:nvSpPr>
      <cdr:spPr>
        <a:xfrm xmlns:a="http://schemas.openxmlformats.org/drawingml/2006/main">
          <a:off x="0" y="0"/>
          <a:ext cx="1800000" cy="216000"/>
        </a:xfrm>
        <a:prstGeom xmlns:a="http://schemas.openxmlformats.org/drawingml/2006/main" prst="rect">
          <a:avLst/>
        </a:prstGeom>
        <a:solidFill xmlns:a="http://schemas.openxmlformats.org/drawingml/2006/main">
          <a:srgbClr val="FEF202"/>
        </a:solidFill>
      </cdr:spPr>
      <cdr:txBody>
        <a:bodyPr xmlns:a="http://schemas.openxmlformats.org/drawingml/2006/main" vertOverflow="clip" wrap="square" rtlCol="0" anchor="t"/>
        <a:lstStyle xmlns:a="http://schemas.openxmlformats.org/drawingml/2006/main"/>
        <a:p xmlns:a="http://schemas.openxmlformats.org/drawingml/2006/main">
          <a:pPr marL="0" marR="0" indent="0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cs-CZ" sz="1600" b="1" i="0" baseline="0">
              <a:effectLst/>
              <a:latin typeface="FuturaTEE" pitchFamily="2" charset="0"/>
              <a:ea typeface="+mn-ea"/>
              <a:cs typeface="+mn-cs"/>
            </a:rPr>
            <a:t>Možný spouštěč recese v Čechách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4/8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08.04.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08/04/2019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 smtClean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058" y="687458"/>
            <a:ext cx="3590544" cy="1374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08/04/2019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 smtClean="0"/>
              <a:t>Click here to add your title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 smtClean="0"/>
              <a:t>The first level</a:t>
            </a:r>
          </a:p>
          <a:p>
            <a:pPr lvl="1"/>
            <a:r>
              <a:rPr lang="en-US" noProof="0" dirty="0" smtClean="0"/>
              <a:t>The second level</a:t>
            </a:r>
          </a:p>
          <a:p>
            <a:pPr lvl="2"/>
            <a:r>
              <a:rPr lang="en-US" noProof="0" dirty="0" smtClean="0"/>
              <a:t>The third level</a:t>
            </a:r>
          </a:p>
          <a:p>
            <a:pPr lvl="3"/>
            <a:r>
              <a:rPr lang="en-US" noProof="0" dirty="0" smtClean="0"/>
              <a:t>The fourth level</a:t>
            </a:r>
          </a:p>
          <a:p>
            <a:pPr lvl="4"/>
            <a:r>
              <a:rPr lang="en-US" noProof="0" dirty="0" smtClean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08/04/2019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 smtClean="0"/>
              <a:t>chapter</a:t>
            </a:r>
            <a:endParaRPr lang="en-US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865055"/>
            <a:ext cx="9928976" cy="430887"/>
          </a:xfrm>
        </p:spPr>
        <p:txBody>
          <a:bodyPr/>
          <a:lstStyle/>
          <a:p>
            <a:r>
              <a:rPr lang="cs-CZ" sz="2800" dirty="0" smtClean="0"/>
              <a:t>Index Exportu</a:t>
            </a:r>
            <a:r>
              <a:rPr lang="cs-CZ" sz="2800" dirty="0"/>
              <a:t>: výročí šestiletých minim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 smtClean="0"/>
              <a:t>Helena Horská, hlavní ekonomka Raiffeisenbank a.s.</a:t>
            </a:r>
          </a:p>
          <a:p>
            <a:r>
              <a:rPr lang="en-US" dirty="0" smtClean="0"/>
              <a:t>h</a:t>
            </a:r>
            <a:r>
              <a:rPr lang="cs-CZ" dirty="0" err="1" smtClean="0"/>
              <a:t>elena.horska</a:t>
            </a:r>
            <a:r>
              <a:rPr lang="en-US" dirty="0" smtClean="0"/>
              <a:t>@rb.cz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890273"/>
            <a:ext cx="10693400" cy="54800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endParaRPr lang="cs-CZ" sz="1600" b="1" dirty="0" err="1" smtClean="0">
              <a:latin typeface="Century Gothic" pitchFamily="34" charset="0"/>
            </a:endParaRPr>
          </a:p>
        </p:txBody>
      </p:sp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5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457200" y="130092"/>
            <a:ext cx="9784030" cy="760181"/>
          </a:xfrm>
        </p:spPr>
        <p:txBody>
          <a:bodyPr/>
          <a:lstStyle/>
          <a:p>
            <a:pPr algn="ctr"/>
            <a:r>
              <a:rPr lang="cs-CZ" sz="2400" dirty="0" smtClean="0"/>
              <a:t>IE: </a:t>
            </a:r>
            <a:r>
              <a:rPr lang="cs-CZ" dirty="0"/>
              <a:t>výročí šestiletých minim</a:t>
            </a:r>
            <a:r>
              <a:rPr lang="cs-CZ" sz="2400" dirty="0" smtClean="0"/>
              <a:t> 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000" i="1" dirty="0"/>
              <a:t>Zdroj: Výpočet </a:t>
            </a:r>
            <a:r>
              <a:rPr lang="cs-CZ" sz="1000" i="1" dirty="0" err="1"/>
              <a:t>Raiffeisenbank</a:t>
            </a:r>
            <a:r>
              <a:rPr lang="cs-CZ" sz="1000" i="1" dirty="0"/>
              <a:t> ve spolupráci s Asociací Exportérů, data k 8</a:t>
            </a:r>
            <a:r>
              <a:rPr lang="cs-CZ" sz="1000" i="1" dirty="0" smtClean="0"/>
              <a:t>. 4. 2019</a:t>
            </a:r>
            <a:r>
              <a:rPr lang="cs-CZ" sz="1000" i="1" dirty="0"/>
              <a:t>. </a:t>
            </a:r>
            <a:br>
              <a:rPr lang="cs-CZ" sz="1000" i="1" dirty="0"/>
            </a:br>
            <a:r>
              <a:rPr lang="cs-CZ" sz="1000" i="1" dirty="0"/>
              <a:t>Pozn.: Údaje do února 2019 odpovídají zveřejněné statistice národního vývozu ČSÚ, od března 2019 prognóza IE.</a:t>
            </a:r>
            <a:endParaRPr lang="cs-CZ" sz="1000" dirty="0"/>
          </a:p>
        </p:txBody>
      </p:sp>
      <p:sp>
        <p:nvSpPr>
          <p:cNvPr id="2" name="Rectangle 1"/>
          <p:cNvSpPr/>
          <p:nvPr/>
        </p:nvSpPr>
        <p:spPr>
          <a:xfrm>
            <a:off x="206264" y="680162"/>
            <a:ext cx="10366485" cy="35240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cs-CZ" sz="1600" dirty="0" smtClean="0"/>
          </a:p>
          <a:p>
            <a:r>
              <a:rPr lang="cs-CZ" sz="1400" dirty="0" smtClean="0"/>
              <a:t>Přírůstek </a:t>
            </a:r>
            <a:r>
              <a:rPr lang="cs-CZ" sz="1400" dirty="0"/>
              <a:t>českého exportu na začátku roku nejnižší lednové tempo od roku 2013, únor přinesl mírné zlepšení. </a:t>
            </a:r>
            <a:r>
              <a:rPr lang="cs-CZ" sz="1400" dirty="0" smtClean="0"/>
              <a:t> Jak trvalé?</a:t>
            </a:r>
          </a:p>
          <a:p>
            <a:endParaRPr lang="cs-CZ" sz="11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b="1" dirty="0"/>
              <a:t>EXPORT = ZAHRANIČNÍ POPTÁVKA </a:t>
            </a:r>
            <a:r>
              <a:rPr lang="en-US" sz="1400" b="1" dirty="0"/>
              <a:t>&amp;</a:t>
            </a:r>
            <a:r>
              <a:rPr lang="cs-CZ" sz="1400" b="1" dirty="0"/>
              <a:t> KURZ</a:t>
            </a:r>
            <a:r>
              <a:rPr lang="en-US" sz="1400" b="1" dirty="0"/>
              <a:t> &amp; DOMAC</a:t>
            </a:r>
            <a:r>
              <a:rPr lang="cs-CZ" sz="1400" b="1" dirty="0"/>
              <a:t>Í VÝROBNÍ KAPACITA</a:t>
            </a:r>
          </a:p>
          <a:p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sz="1400" dirty="0"/>
              <a:t>c</a:t>
            </a:r>
            <a:r>
              <a:rPr lang="cs-CZ" sz="1400" dirty="0" err="1" smtClean="0"/>
              <a:t>itelně</a:t>
            </a:r>
            <a:r>
              <a:rPr lang="cs-CZ" sz="1400" dirty="0" smtClean="0"/>
              <a:t> slábne poptávka z Německa (v lednu na rozdíl od ostatních EU zemí vývoz do SRN meziročně klesl)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en-US" sz="1400" dirty="0"/>
              <a:t>p</a:t>
            </a:r>
            <a:r>
              <a:rPr lang="cs-CZ" sz="1400" dirty="0" err="1" smtClean="0"/>
              <a:t>ředstihové</a:t>
            </a:r>
            <a:r>
              <a:rPr lang="cs-CZ" sz="1400" dirty="0" smtClean="0"/>
              <a:t> indikátory (PMI, IFO index, …) </a:t>
            </a:r>
            <a:r>
              <a:rPr lang="cs-CZ" sz="1400" dirty="0" smtClean="0">
                <a:sym typeface="Symbol" panose="05050102010706020507" pitchFamily="18" charset="2"/>
              </a:rPr>
              <a:t></a:t>
            </a:r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cs-CZ" sz="1400" dirty="0" smtClean="0"/>
              <a:t>l</a:t>
            </a:r>
            <a:r>
              <a:rPr lang="en-US" sz="1400" dirty="0" err="1" smtClean="0"/>
              <a:t>ednov</a:t>
            </a:r>
            <a:r>
              <a:rPr lang="cs-CZ" sz="1400" dirty="0" smtClean="0"/>
              <a:t>ý přírůstek nových zakázek pro český průmysl nejnižší za </a:t>
            </a:r>
            <a:r>
              <a:rPr lang="cs-CZ" sz="1400" dirty="0"/>
              <a:t>posledních šest </a:t>
            </a:r>
            <a:r>
              <a:rPr lang="cs-CZ" sz="1400" dirty="0" smtClean="0"/>
              <a:t>let</a:t>
            </a:r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L"/>
            </a:pPr>
            <a:r>
              <a:rPr lang="cs-CZ" sz="1400" dirty="0" smtClean="0"/>
              <a:t>stále </a:t>
            </a:r>
            <a:r>
              <a:rPr lang="cs-CZ" sz="1400" dirty="0"/>
              <a:t>vysátý trh práce, na kterém mnohé firmy stále beznadějně hledají nové </a:t>
            </a:r>
            <a:r>
              <a:rPr lang="cs-CZ" sz="1400" dirty="0" smtClean="0"/>
              <a:t>zaměstnance </a:t>
            </a:r>
            <a:endParaRPr lang="en-US" sz="1400" dirty="0" smtClean="0"/>
          </a:p>
          <a:p>
            <a:r>
              <a:rPr lang="cs-CZ" sz="1400" dirty="0" smtClean="0">
                <a:sym typeface="Wingdings" panose="05000000000000000000" pitchFamily="2" charset="2"/>
              </a:rPr>
              <a:t> </a:t>
            </a:r>
            <a:r>
              <a:rPr lang="cs-CZ" sz="1400" dirty="0" smtClean="0">
                <a:sym typeface="Wingdings" panose="05000000000000000000" pitchFamily="2" charset="2"/>
              </a:rPr>
              <a:t>  slábnoucí </a:t>
            </a:r>
            <a:r>
              <a:rPr lang="cs-CZ" sz="1400" dirty="0" smtClean="0">
                <a:sym typeface="Wingdings" panose="05000000000000000000" pitchFamily="2" charset="2"/>
              </a:rPr>
              <a:t>CZK</a:t>
            </a:r>
            <a:endParaRPr lang="cs-CZ" sz="1400" dirty="0" smtClean="0"/>
          </a:p>
          <a:p>
            <a:endParaRPr lang="cs-CZ" sz="1400" dirty="0"/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cs-CZ" sz="1400" dirty="0" smtClean="0"/>
              <a:t>Podle Indexu </a:t>
            </a:r>
            <a:r>
              <a:rPr lang="cs-CZ" sz="1400" dirty="0"/>
              <a:t>Exportu, který zohledňuje i situaci na českém trhu práce, dojde v letošním </a:t>
            </a:r>
            <a:r>
              <a:rPr lang="cs-CZ" sz="1400" dirty="0" smtClean="0"/>
              <a:t>2Q</a:t>
            </a:r>
            <a:r>
              <a:rPr lang="en-US" sz="1400" dirty="0" smtClean="0"/>
              <a:t>’19</a:t>
            </a:r>
            <a:r>
              <a:rPr lang="cs-CZ" sz="1400" dirty="0" smtClean="0"/>
              <a:t> </a:t>
            </a:r>
            <a:r>
              <a:rPr lang="cs-CZ" sz="1400" b="1" dirty="0"/>
              <a:t>k dalšímu zpomalení růstu českého </a:t>
            </a:r>
            <a:r>
              <a:rPr lang="cs-CZ" sz="1400" b="1" dirty="0" smtClean="0"/>
              <a:t>exportu</a:t>
            </a:r>
            <a:endParaRPr lang="cs-CZ" sz="1400" dirty="0" smtClean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cs-CZ" sz="1400" dirty="0" smtClean="0"/>
              <a:t>Odhaduji, že</a:t>
            </a:r>
            <a:r>
              <a:rPr lang="en-US" sz="1400" dirty="0" smtClean="0"/>
              <a:t> </a:t>
            </a:r>
            <a:r>
              <a:rPr lang="cs-CZ" sz="1400" b="1" dirty="0" smtClean="0"/>
              <a:t>l</a:t>
            </a:r>
            <a:r>
              <a:rPr lang="en-US" sz="1400" b="1" dirty="0" err="1" smtClean="0"/>
              <a:t>eto</a:t>
            </a:r>
            <a:r>
              <a:rPr lang="cs-CZ" sz="1400" b="1" dirty="0" err="1" smtClean="0"/>
              <a:t>šní</a:t>
            </a:r>
            <a:r>
              <a:rPr lang="cs-CZ" sz="1400" b="1" dirty="0" smtClean="0"/>
              <a:t> přírůstek </a:t>
            </a:r>
            <a:r>
              <a:rPr lang="cs-CZ" sz="1400" b="1" dirty="0"/>
              <a:t>českého exportu </a:t>
            </a:r>
            <a:r>
              <a:rPr lang="cs-CZ" sz="1400" dirty="0"/>
              <a:t>v národním </a:t>
            </a:r>
            <a:r>
              <a:rPr lang="cs-CZ" sz="1400" dirty="0" smtClean="0"/>
              <a:t>pojetí klesne na </a:t>
            </a:r>
            <a:r>
              <a:rPr lang="cs-CZ" sz="1400" b="1" dirty="0" smtClean="0"/>
              <a:t>6leté minimum </a:t>
            </a:r>
            <a:endParaRPr lang="cs-CZ" sz="1400" b="1" dirty="0"/>
          </a:p>
          <a:p>
            <a:pPr marL="285750" indent="-285750">
              <a:buFont typeface="Symbol" panose="05050102010706020507" pitchFamily="18" charset="2"/>
              <a:buChar char="Þ"/>
            </a:pPr>
            <a:r>
              <a:rPr lang="cs-CZ" sz="1400" dirty="0" smtClean="0"/>
              <a:t>Pokud </a:t>
            </a:r>
            <a:r>
              <a:rPr lang="cs-CZ" sz="1400" dirty="0"/>
              <a:t>nedojde na krajní variantu tj. na neřízený </a:t>
            </a:r>
            <a:r>
              <a:rPr lang="cs-CZ" sz="1400" dirty="0" err="1"/>
              <a:t>brexit</a:t>
            </a:r>
            <a:r>
              <a:rPr lang="cs-CZ" sz="1400" dirty="0"/>
              <a:t>, český export se letos setrvalému poklesu ještě </a:t>
            </a:r>
            <a:r>
              <a:rPr lang="cs-CZ" sz="1400" dirty="0" smtClean="0"/>
              <a:t>vyhne</a:t>
            </a:r>
            <a:endParaRPr lang="cs-CZ" sz="1100" dirty="0"/>
          </a:p>
        </p:txBody>
      </p:sp>
      <p:graphicFrame>
        <p:nvGraphicFramePr>
          <p:cNvPr id="10" name="Chart 9"/>
          <p:cNvGraphicFramePr/>
          <p:nvPr>
            <p:extLst>
              <p:ext uri="{D42A27DB-BD31-4B8C-83A1-F6EECF244321}">
                <p14:modId xmlns:p14="http://schemas.microsoft.com/office/powerpoint/2010/main" val="2303165597"/>
              </p:ext>
            </p:extLst>
          </p:nvPr>
        </p:nvGraphicFramePr>
        <p:xfrm>
          <a:off x="289653" y="4201609"/>
          <a:ext cx="10114093" cy="28285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Čtvrtletní průzkum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30858" y="1902143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 smtClean="0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359343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</a:t>
            </a:r>
            <a:r>
              <a:rPr lang="cs-CZ" sz="1200" i="1" dirty="0" smtClean="0"/>
              <a:t>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83233" y="2802835"/>
            <a:ext cx="2250954" cy="3060010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Aktuální situa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600" b="1" dirty="0" smtClean="0">
                <a:latin typeface="Century Gothic" pitchFamily="34" charset="0"/>
              </a:rPr>
              <a:t>Výhled na tři měsíc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381004" y="832269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</a:t>
            </a:r>
            <a:r>
              <a:rPr lang="cs-CZ" sz="1400" b="1" dirty="0" smtClean="0">
                <a:latin typeface="Century Gothic" pitchFamily="34" charset="0"/>
              </a:rPr>
              <a:t>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 termínu 30. 8. – 19. 9. 2018. </a:t>
            </a:r>
            <a:r>
              <a:rPr lang="cs-CZ" sz="1100" i="1" dirty="0" err="1"/>
              <a:t>Raiffeisenbank</a:t>
            </a:r>
            <a:r>
              <a:rPr lang="cs-CZ" sz="1100" i="1" dirty="0"/>
              <a:t> a.s</a:t>
            </a:r>
            <a:r>
              <a:rPr lang="cs-CZ" sz="1100" i="1" dirty="0" smtClean="0"/>
              <a:t>. a  </a:t>
            </a:r>
            <a:r>
              <a:rPr lang="cs-CZ" sz="1100" i="1" dirty="0"/>
              <a:t>Asociace exportérů. </a:t>
            </a:r>
            <a:endParaRPr lang="cs-CZ" sz="1100" dirty="0"/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val="3685878149"/>
              </p:ext>
            </p:extLst>
          </p:nvPr>
        </p:nvGraphicFramePr>
        <p:xfrm>
          <a:off x="2557565" y="3093542"/>
          <a:ext cx="7241173" cy="19631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3125152739"/>
              </p:ext>
            </p:extLst>
          </p:nvPr>
        </p:nvGraphicFramePr>
        <p:xfrm>
          <a:off x="2688589" y="5079435"/>
          <a:ext cx="7110149" cy="20523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 smtClean="0"/>
              <a:t>Anketa mezi exportéry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1" y="891304"/>
            <a:ext cx="10693400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dirty="0" smtClean="0"/>
              <a:t>Spouštěč případné recese</a:t>
            </a:r>
            <a:endParaRPr lang="cs-CZ" b="1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 smtClean="0"/>
              <a:t>Zdroj</a:t>
            </a:r>
            <a:r>
              <a:rPr lang="cs-CZ" sz="1100" i="1" dirty="0"/>
              <a:t>: Šetření mezi exportéry v termínu 12. 3. – 4. 4. 2019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 Asociace exportérů</a:t>
            </a:r>
            <a:r>
              <a:rPr lang="cs-CZ" sz="1100" i="1" dirty="0" smtClean="0"/>
              <a:t>. </a:t>
            </a:r>
            <a:endParaRPr lang="cs-CZ" sz="1100" dirty="0"/>
          </a:p>
        </p:txBody>
      </p:sp>
      <p:graphicFrame>
        <p:nvGraphicFramePr>
          <p:cNvPr id="12" name="Chart 11"/>
          <p:cNvGraphicFramePr/>
          <p:nvPr>
            <p:extLst>
              <p:ext uri="{D42A27DB-BD31-4B8C-83A1-F6EECF244321}">
                <p14:modId xmlns:p14="http://schemas.microsoft.com/office/powerpoint/2010/main" val="4115462007"/>
              </p:ext>
            </p:extLst>
          </p:nvPr>
        </p:nvGraphicFramePr>
        <p:xfrm>
          <a:off x="370523" y="3506009"/>
          <a:ext cx="8106728" cy="35250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Rectangle 14"/>
          <p:cNvSpPr/>
          <p:nvPr/>
        </p:nvSpPr>
        <p:spPr>
          <a:xfrm>
            <a:off x="10442774" y="3181350"/>
            <a:ext cx="914400" cy="914400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8135" y="1476709"/>
            <a:ext cx="8277225" cy="196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320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 smtClean="0"/>
              <a:t>Důležité upozornění</a:t>
            </a:r>
            <a:endParaRPr lang="cs-CZ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</a:t>
            </a:r>
            <a:r>
              <a:rPr lang="cs-CZ" sz="1400" dirty="0" smtClean="0"/>
              <a:t>o zamýšlené </a:t>
            </a:r>
            <a:r>
              <a:rPr lang="cs-CZ" sz="1400" dirty="0"/>
              <a:t>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</a:t>
            </a:r>
            <a:r>
              <a:rPr lang="cs-CZ" sz="1400" dirty="0" smtClean="0"/>
              <a:t>a Prováděcího </a:t>
            </a:r>
            <a:r>
              <a:rPr lang="cs-CZ" sz="1400" dirty="0"/>
              <a:t>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 smtClean="0">
                <a:latin typeface="Century Gothic" pitchFamily="34" charset="0"/>
              </a:rPr>
              <a:t>Data </a:t>
            </a:r>
            <a:r>
              <a:rPr lang="cs-CZ" sz="1400" dirty="0">
                <a:latin typeface="Century Gothic" pitchFamily="34" charset="0"/>
              </a:rPr>
              <a:t>k </a:t>
            </a:r>
            <a:r>
              <a:rPr lang="cs-CZ" sz="1400" dirty="0"/>
              <a:t>8</a:t>
            </a:r>
            <a:r>
              <a:rPr lang="cs-CZ" sz="1400" dirty="0" smtClean="0"/>
              <a:t>. </a:t>
            </a:r>
            <a:r>
              <a:rPr lang="cs-CZ" sz="1400" smtClean="0"/>
              <a:t>dubna </a:t>
            </a:r>
            <a:r>
              <a:rPr lang="cs-CZ" sz="1400" dirty="0" smtClean="0"/>
              <a:t>2019</a:t>
            </a:r>
            <a:r>
              <a:rPr lang="cs-CZ" sz="1400" dirty="0" smtClean="0">
                <a:latin typeface="Century Gothic" pitchFamily="34" charset="0"/>
              </a:rPr>
              <a:t> </a:t>
            </a:r>
            <a:endParaRPr lang="cs-CZ" sz="1400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</a:t>
            </a:r>
            <a:r>
              <a:rPr lang="cs-CZ" sz="1400" dirty="0" smtClean="0">
                <a:latin typeface="Century Gothic" pitchFamily="34" charset="0"/>
              </a:rPr>
              <a:t>Helena Horská, hlavní ekonom Raiffeisenbank </a:t>
            </a:r>
            <a:r>
              <a:rPr lang="cs-CZ" sz="1400" dirty="0">
                <a:latin typeface="Century Gothic" pitchFamily="34" charset="0"/>
              </a:rPr>
              <a:t>a.s., </a:t>
            </a:r>
            <a:r>
              <a:rPr lang="cs-CZ" sz="1400" dirty="0" err="1" smtClean="0">
                <a:latin typeface="Century Gothic" pitchFamily="34" charset="0"/>
              </a:rPr>
              <a:t>helena.horska</a:t>
            </a:r>
            <a:r>
              <a:rPr lang="en-US" sz="1400" dirty="0" smtClean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 smtClean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623022-32C5-45FE-9C38-B3E16CC9AD8A}">
  <ds:schemaRefs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dcmitype/"/>
    <ds:schemaRef ds:uri="http://www.w3.org/XML/1998/namespace"/>
    <ds:schemaRef ds:uri="8a242853-43d6-460e-83d1-ae32e22d03ab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sharepoint/v3"/>
  </ds:schemaRefs>
</ds:datastoreItem>
</file>

<file path=customXml/itemProps3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8220</TotalTime>
  <Words>333</Words>
  <Application>Microsoft Office PowerPoint</Application>
  <PresentationFormat>Vlastní</PresentationFormat>
  <Paragraphs>54</Paragraphs>
  <Slides>5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6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13" baseType="lpstr">
      <vt:lpstr>Arial</vt:lpstr>
      <vt:lpstr>Calibri</vt:lpstr>
      <vt:lpstr>Century Gothic</vt:lpstr>
      <vt:lpstr>FuturaTEE</vt:lpstr>
      <vt:lpstr>Symbol</vt:lpstr>
      <vt:lpstr>Wingdings</vt:lpstr>
      <vt:lpstr>Presentace IE žlutá</vt:lpstr>
      <vt:lpstr>think-cell Slide</vt:lpstr>
      <vt:lpstr>Prezentace aplikace PowerPoint</vt:lpstr>
      <vt:lpstr>IE: výročí šestiletých minim 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221</cp:revision>
  <cp:lastPrinted>2018-07-09T10:23:09Z</cp:lastPrinted>
  <dcterms:created xsi:type="dcterms:W3CDTF">2016-04-01T12:44:41Z</dcterms:created>
  <dcterms:modified xsi:type="dcterms:W3CDTF">2019-04-08T11:1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</Properties>
</file>